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4159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400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7CE4119B-0CFE-4B37-AFCA-36AC9CEAF2FD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3" r="9933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7 May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Keanu Reeve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Chad Stahelski (</a:t>
            </a:r>
            <a:r>
              <a:rPr lang="en-US" i="1" dirty="0">
                <a:solidFill>
                  <a:schemeClr val="accent6"/>
                </a:solidFill>
              </a:rPr>
              <a:t>John Wick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John Wick: Chapter 3 - Parabellu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John Wick series has grown from a stripped-down action thriller into one of the biggest action franchises of the last decade, with it’s focus on real stunts and choreography providing a much-needed alternative to CGI </a:t>
            </a:r>
            <a:r>
              <a:rPr lang="en-US" dirty="0" err="1">
                <a:solidFill>
                  <a:schemeClr val="accent6"/>
                </a:solidFill>
              </a:rPr>
              <a:t>blobkbusters</a:t>
            </a:r>
            <a:r>
              <a:rPr lang="en-US" dirty="0">
                <a:solidFill>
                  <a:schemeClr val="accent6"/>
                </a:solidFill>
              </a:rPr>
              <a:t>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Men Index: 36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.1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b="0" dirty="0"/>
              <a:t>Continuation of the John Wick saga.</a:t>
            </a:r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John Wick: Chapter 4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 final chapter begins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4055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0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John Wick: Chapter 4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John Wick: Chapter 4</dc:description>
  <cp:lastModifiedBy/>
  <cp:revision>1</cp:revision>
  <dcterms:created xsi:type="dcterms:W3CDTF">2019-03-25T11:13:20Z</dcterms:created>
  <dcterms:modified xsi:type="dcterms:W3CDTF">2022-01-19T16:57:2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John Wick: Chapter 4</vt:lpwstr>
  </property>
</Properties>
</file>